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3"/>
  </p:notesMasterIdLst>
  <p:handoutMasterIdLst>
    <p:handoutMasterId r:id="rId14"/>
  </p:handoutMasterIdLst>
  <p:sldIdLst>
    <p:sldId id="1277" r:id="rId3"/>
    <p:sldId id="1293" r:id="rId4"/>
    <p:sldId id="1294" r:id="rId5"/>
    <p:sldId id="1296" r:id="rId6"/>
    <p:sldId id="1384" r:id="rId7"/>
    <p:sldId id="1373" r:id="rId8"/>
    <p:sldId id="1343" r:id="rId9"/>
    <p:sldId id="1344" r:id="rId10"/>
    <p:sldId id="1345" r:id="rId11"/>
    <p:sldId id="1346" r:id="rId12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109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3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004281"/>
              </p:ext>
            </p:extLst>
          </p:nvPr>
        </p:nvGraphicFramePr>
        <p:xfrm>
          <a:off x="434413" y="847512"/>
          <a:ext cx="11435203" cy="5415018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vá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žení C19 JIP (pokles zatím pouze o 1/3 v porovnání se špičkovým zatížením na podzim 2021). Nemocnost personálu zatím bez zásadního vlivu na provoz.</a:t>
                      </a:r>
                    </a:p>
                  </a:txBody>
                  <a:tcPr marL="95250" marR="95250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 Začínáme pociťovat nedostatek personálu z důvodu pozitivity či karantény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ě navýšena elektivní péče, v intenzivní péči nadál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í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(ZZ zatím nezadávají do DIP – informace zaslána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HC pokles C+ hospitalizovaných na standardu, JIP zatížené také méně, trvá hospitaliz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mimo ISIN. Využívání možnost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acovní karantény.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23.1.2022 00:28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62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533336"/>
              </p:ext>
            </p:extLst>
          </p:nvPr>
        </p:nvGraphicFramePr>
        <p:xfrm>
          <a:off x="184725" y="988292"/>
          <a:ext cx="9485747" cy="5308463"/>
        </p:xfrm>
        <a:graphic>
          <a:graphicData uri="http://schemas.openxmlformats.org/drawingml/2006/table">
            <a:tbl>
              <a:tblPr/>
              <a:tblGrid>
                <a:gridCol w="2082507">
                  <a:extLst>
                    <a:ext uri="{9D8B030D-6E8A-4147-A177-3AD203B41FA5}">
                      <a16:colId xmlns:a16="http://schemas.microsoft.com/office/drawing/2014/main" val="3323419443"/>
                    </a:ext>
                  </a:extLst>
                </a:gridCol>
                <a:gridCol w="1186064">
                  <a:extLst>
                    <a:ext uri="{9D8B030D-6E8A-4147-A177-3AD203B41FA5}">
                      <a16:colId xmlns:a16="http://schemas.microsoft.com/office/drawing/2014/main" val="6344946"/>
                    </a:ext>
                  </a:extLst>
                </a:gridCol>
                <a:gridCol w="1172271">
                  <a:extLst>
                    <a:ext uri="{9D8B030D-6E8A-4147-A177-3AD203B41FA5}">
                      <a16:colId xmlns:a16="http://schemas.microsoft.com/office/drawing/2014/main" val="10983778"/>
                    </a:ext>
                  </a:extLst>
                </a:gridCol>
                <a:gridCol w="1172271">
                  <a:extLst>
                    <a:ext uri="{9D8B030D-6E8A-4147-A177-3AD203B41FA5}">
                      <a16:colId xmlns:a16="http://schemas.microsoft.com/office/drawing/2014/main" val="1890403635"/>
                    </a:ext>
                  </a:extLst>
                </a:gridCol>
                <a:gridCol w="1227437">
                  <a:extLst>
                    <a:ext uri="{9D8B030D-6E8A-4147-A177-3AD203B41FA5}">
                      <a16:colId xmlns:a16="http://schemas.microsoft.com/office/drawing/2014/main" val="2138023377"/>
                    </a:ext>
                  </a:extLst>
                </a:gridCol>
                <a:gridCol w="976434">
                  <a:extLst>
                    <a:ext uri="{9D8B030D-6E8A-4147-A177-3AD203B41FA5}">
                      <a16:colId xmlns:a16="http://schemas.microsoft.com/office/drawing/2014/main" val="2326860838"/>
                    </a:ext>
                  </a:extLst>
                </a:gridCol>
                <a:gridCol w="1668763">
                  <a:extLst>
                    <a:ext uri="{9D8B030D-6E8A-4147-A177-3AD203B41FA5}">
                      <a16:colId xmlns:a16="http://schemas.microsoft.com/office/drawing/2014/main" val="584436973"/>
                    </a:ext>
                  </a:extLst>
                </a:gridCol>
              </a:tblGrid>
              <a:tr h="182348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3336939"/>
                  </a:ext>
                </a:extLst>
              </a:tr>
              <a:tr h="182348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3.01. 2022, 12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363137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2882111"/>
                  </a:ext>
                </a:extLst>
              </a:tr>
              <a:tr h="18000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4710465"/>
                  </a:ext>
                </a:extLst>
              </a:tr>
              <a:tr h="63040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2405604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212696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753057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16570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266765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95537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2082856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5564300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4714765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130715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2986439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4971685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073223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71984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463887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732939"/>
                  </a:ext>
                </a:extLst>
              </a:tr>
              <a:tr h="18000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569743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8379128"/>
                  </a:ext>
                </a:extLst>
              </a:tr>
              <a:tr h="1800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5327756"/>
                  </a:ext>
                </a:extLst>
              </a:tr>
              <a:tr h="18000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x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0667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4142293"/>
              </p:ext>
            </p:extLst>
          </p:nvPr>
        </p:nvGraphicFramePr>
        <p:xfrm>
          <a:off x="184727" y="988285"/>
          <a:ext cx="9855200" cy="5358637"/>
        </p:xfrm>
        <a:graphic>
          <a:graphicData uri="http://schemas.openxmlformats.org/drawingml/2006/table">
            <a:tbl>
              <a:tblPr/>
              <a:tblGrid>
                <a:gridCol w="2163618">
                  <a:extLst>
                    <a:ext uri="{9D8B030D-6E8A-4147-A177-3AD203B41FA5}">
                      <a16:colId xmlns:a16="http://schemas.microsoft.com/office/drawing/2014/main" val="1188472550"/>
                    </a:ext>
                  </a:extLst>
                </a:gridCol>
                <a:gridCol w="1232258">
                  <a:extLst>
                    <a:ext uri="{9D8B030D-6E8A-4147-A177-3AD203B41FA5}">
                      <a16:colId xmlns:a16="http://schemas.microsoft.com/office/drawing/2014/main" val="3085755910"/>
                    </a:ext>
                  </a:extLst>
                </a:gridCol>
                <a:gridCol w="1217930">
                  <a:extLst>
                    <a:ext uri="{9D8B030D-6E8A-4147-A177-3AD203B41FA5}">
                      <a16:colId xmlns:a16="http://schemas.microsoft.com/office/drawing/2014/main" val="2618058259"/>
                    </a:ext>
                  </a:extLst>
                </a:gridCol>
                <a:gridCol w="1217930">
                  <a:extLst>
                    <a:ext uri="{9D8B030D-6E8A-4147-A177-3AD203B41FA5}">
                      <a16:colId xmlns:a16="http://schemas.microsoft.com/office/drawing/2014/main" val="1740049873"/>
                    </a:ext>
                  </a:extLst>
                </a:gridCol>
                <a:gridCol w="1275242">
                  <a:extLst>
                    <a:ext uri="{9D8B030D-6E8A-4147-A177-3AD203B41FA5}">
                      <a16:colId xmlns:a16="http://schemas.microsoft.com/office/drawing/2014/main" val="2158205767"/>
                    </a:ext>
                  </a:extLst>
                </a:gridCol>
                <a:gridCol w="1014464">
                  <a:extLst>
                    <a:ext uri="{9D8B030D-6E8A-4147-A177-3AD203B41FA5}">
                      <a16:colId xmlns:a16="http://schemas.microsoft.com/office/drawing/2014/main" val="3964425832"/>
                    </a:ext>
                  </a:extLst>
                </a:gridCol>
                <a:gridCol w="1733758">
                  <a:extLst>
                    <a:ext uri="{9D8B030D-6E8A-4147-A177-3AD203B41FA5}">
                      <a16:colId xmlns:a16="http://schemas.microsoft.com/office/drawing/2014/main" val="390705390"/>
                    </a:ext>
                  </a:extLst>
                </a:gridCol>
              </a:tblGrid>
              <a:tr h="19230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1276135"/>
                  </a:ext>
                </a:extLst>
              </a:tr>
              <a:tr h="19677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3.01. 2022, 12:0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5551140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3951791"/>
                  </a:ext>
                </a:extLst>
              </a:tr>
              <a:tr h="1923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996446"/>
                  </a:ext>
                </a:extLst>
              </a:tr>
              <a:tr h="68027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4211956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0433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0757939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16055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340465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064429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9167533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879165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1114666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095048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1807595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4896448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0260652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933078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855858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0723380"/>
                  </a:ext>
                </a:extLst>
              </a:tr>
              <a:tr h="19230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5341399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223404"/>
                  </a:ext>
                </a:extLst>
              </a:tr>
              <a:tr h="19230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05797"/>
                  </a:ext>
                </a:extLst>
              </a:tr>
              <a:tr h="19230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x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974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3.1.2022 00:28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224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313057"/>
              </p:ext>
            </p:extLst>
          </p:nvPr>
        </p:nvGraphicFramePr>
        <p:xfrm>
          <a:off x="230909" y="979050"/>
          <a:ext cx="8719126" cy="5475720"/>
        </p:xfrm>
        <a:graphic>
          <a:graphicData uri="http://schemas.openxmlformats.org/drawingml/2006/table">
            <a:tbl>
              <a:tblPr/>
              <a:tblGrid>
                <a:gridCol w="1844994">
                  <a:extLst>
                    <a:ext uri="{9D8B030D-6E8A-4147-A177-3AD203B41FA5}">
                      <a16:colId xmlns:a16="http://schemas.microsoft.com/office/drawing/2014/main" val="3672782935"/>
                    </a:ext>
                  </a:extLst>
                </a:gridCol>
                <a:gridCol w="1050792">
                  <a:extLst>
                    <a:ext uri="{9D8B030D-6E8A-4147-A177-3AD203B41FA5}">
                      <a16:colId xmlns:a16="http://schemas.microsoft.com/office/drawing/2014/main" val="1996388823"/>
                    </a:ext>
                  </a:extLst>
                </a:gridCol>
                <a:gridCol w="1038573">
                  <a:extLst>
                    <a:ext uri="{9D8B030D-6E8A-4147-A177-3AD203B41FA5}">
                      <a16:colId xmlns:a16="http://schemas.microsoft.com/office/drawing/2014/main" val="3971300271"/>
                    </a:ext>
                  </a:extLst>
                </a:gridCol>
                <a:gridCol w="1038573">
                  <a:extLst>
                    <a:ext uri="{9D8B030D-6E8A-4147-A177-3AD203B41FA5}">
                      <a16:colId xmlns:a16="http://schemas.microsoft.com/office/drawing/2014/main" val="2364609661"/>
                    </a:ext>
                  </a:extLst>
                </a:gridCol>
                <a:gridCol w="1087447">
                  <a:extLst>
                    <a:ext uri="{9D8B030D-6E8A-4147-A177-3AD203B41FA5}">
                      <a16:colId xmlns:a16="http://schemas.microsoft.com/office/drawing/2014/main" val="1273215108"/>
                    </a:ext>
                  </a:extLst>
                </a:gridCol>
                <a:gridCol w="1478439">
                  <a:extLst>
                    <a:ext uri="{9D8B030D-6E8A-4147-A177-3AD203B41FA5}">
                      <a16:colId xmlns:a16="http://schemas.microsoft.com/office/drawing/2014/main" val="1419434534"/>
                    </a:ext>
                  </a:extLst>
                </a:gridCol>
                <a:gridCol w="1180308">
                  <a:extLst>
                    <a:ext uri="{9D8B030D-6E8A-4147-A177-3AD203B41FA5}">
                      <a16:colId xmlns:a16="http://schemas.microsoft.com/office/drawing/2014/main" val="2621323483"/>
                    </a:ext>
                  </a:extLst>
                </a:gridCol>
              </a:tblGrid>
              <a:tr h="15781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075494"/>
                  </a:ext>
                </a:extLst>
              </a:tr>
              <a:tr h="15781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3.01. 2022, 12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3336303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675349"/>
                  </a:ext>
                </a:extLst>
              </a:tr>
              <a:tr h="1578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7133727"/>
                  </a:ext>
                </a:extLst>
              </a:tr>
              <a:tr h="46526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092326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493080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583943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567797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6846802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780570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681544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896763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51455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929438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0912841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5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047914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626430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896359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699772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0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717946"/>
                  </a:ext>
                </a:extLst>
              </a:tr>
              <a:tr h="157815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216833"/>
                  </a:ext>
                </a:extLst>
              </a:tr>
              <a:tr h="15781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9941025"/>
                  </a:ext>
                </a:extLst>
              </a:tr>
              <a:tr h="31154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416834"/>
                  </a:ext>
                </a:extLst>
              </a:tr>
              <a:tr h="15781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x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0773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667762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23.1.2022 0:28 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486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7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6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25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,7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67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3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29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8,8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224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60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7,5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635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1,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71273" y="30260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534641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23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9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98690" y="2927866"/>
            <a:ext cx="10397888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ne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22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1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bylo 104 nově přijatých C+ pacientů a 59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 i vzhledem ke zvyšujícím se počtům pozitivních testů, nižší počty příjmů C+ pac, ve všech krajích obnovena elektivní operativa s omezením do 50 % 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a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méně</a:t>
            </a:r>
            <a:r>
              <a:rPr lang="cs-CZ" sz="1700" dirty="0"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Dochází k úbytku personálu – nemocnost, OČR.</a:t>
            </a:r>
          </a:p>
          <a:p>
            <a:pPr lvl="1">
              <a:defRPr/>
            </a:pPr>
            <a:endParaRPr lang="cs-CZ" sz="17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sz="17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pacienti k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23.1.2022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1:20 -&gt;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14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celkem, z toho 69 pac na JIP, z toho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53 </a:t>
            </a:r>
            <a:r>
              <a:rPr lang="cs-CZ" sz="17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c na UPV/ECMO</a:t>
            </a:r>
            <a:endParaRPr lang="cs-CZ" sz="17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pokles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u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 začíná stagnovat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41807"/>
              </p:ext>
            </p:extLst>
          </p:nvPr>
        </p:nvGraphicFramePr>
        <p:xfrm>
          <a:off x="332646" y="832093"/>
          <a:ext cx="11405086" cy="5156742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tabilní, kapacita standardní i IP pro C+ dostatečná, elektivní péče nadále částečně omezená ve prospěch COVID jednotek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dostatek personálu i s ohledem na vysoký počet PN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jednotlivých ZZ průběžně upravována kapacita C+ jednotek, v oblasti standardních lůžek t.č. cca obsazenost 50%, v IP zachová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zdor narůstajícímu počtu pozitivních výsledků AG a PCR je zatím v nemocnicích situace klidná s postupným návratem k elektivní operativě (stále s mírným omezením IP pro pooperační stavy)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635138"/>
              </p:ext>
            </p:extLst>
          </p:nvPr>
        </p:nvGraphicFramePr>
        <p:xfrm>
          <a:off x="288084" y="735512"/>
          <a:ext cx="11587543" cy="5522783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dále trvá ,ale podařilo se navýšit pro ně kapacity poklesem obsazeno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lůžek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. Začínáme pociťovat dopa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personálního zabezpečení péče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kles hospitalizovaných C+ pacientů standard/IP. Vyšší zátěž a potřeb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nzivní péče. Nedostatek personálu v důsledku zvýšené nemocnosti, karantén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tc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ní bariéry k obnově normálního provozu - jednak otázka karantén a dále nejistota stran dalšího vývoje potřeby lůžek blokují větší rozvolnění v elektivní péči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34115"/>
              </p:ext>
            </p:extLst>
          </p:nvPr>
        </p:nvGraphicFramePr>
        <p:xfrm>
          <a:off x="376606" y="813855"/>
          <a:ext cx="11519385" cy="4795637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není třeba omezovat provozy v nemocnicích regionu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situace klidná, předpokládáme potíže s nemocností personálu a personálem na OČR či v karanténě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jen ECMO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865</TotalTime>
  <Words>1805</Words>
  <Application>Microsoft Office PowerPoint</Application>
  <PresentationFormat>Širokoúhlá obrazovka</PresentationFormat>
  <Paragraphs>521</Paragraphs>
  <Slides>10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DLP – Stav očkování u hospitalizovaných pacientů</vt:lpstr>
      <vt:lpstr>NDLP - Souhrn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938</cp:revision>
  <cp:lastPrinted>2020-10-20T04:21:56Z</cp:lastPrinted>
  <dcterms:created xsi:type="dcterms:W3CDTF">2020-07-15T10:33:32Z</dcterms:created>
  <dcterms:modified xsi:type="dcterms:W3CDTF">2022-01-23T11:48:28Z</dcterms:modified>
</cp:coreProperties>
</file>